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56" r:id="rId2"/>
    <p:sldId id="302" r:id="rId3"/>
    <p:sldId id="289" r:id="rId4"/>
    <p:sldId id="303" r:id="rId5"/>
    <p:sldId id="307" r:id="rId6"/>
    <p:sldId id="308" r:id="rId7"/>
    <p:sldId id="309" r:id="rId8"/>
    <p:sldId id="310" r:id="rId9"/>
    <p:sldId id="394" r:id="rId10"/>
    <p:sldId id="395" r:id="rId11"/>
    <p:sldId id="396" r:id="rId12"/>
    <p:sldId id="375" r:id="rId13"/>
    <p:sldId id="372" r:id="rId14"/>
    <p:sldId id="373" r:id="rId15"/>
    <p:sldId id="378" r:id="rId16"/>
    <p:sldId id="374" r:id="rId17"/>
    <p:sldId id="442" r:id="rId18"/>
    <p:sldId id="443" r:id="rId19"/>
    <p:sldId id="445" r:id="rId20"/>
    <p:sldId id="446" r:id="rId21"/>
    <p:sldId id="376" r:id="rId22"/>
    <p:sldId id="377" r:id="rId23"/>
    <p:sldId id="437" r:id="rId24"/>
    <p:sldId id="438" r:id="rId25"/>
    <p:sldId id="439" r:id="rId26"/>
    <p:sldId id="440" r:id="rId27"/>
    <p:sldId id="398" r:id="rId28"/>
    <p:sldId id="399" r:id="rId29"/>
    <p:sldId id="401" r:id="rId30"/>
    <p:sldId id="402" r:id="rId31"/>
    <p:sldId id="403" r:id="rId32"/>
    <p:sldId id="404" r:id="rId33"/>
    <p:sldId id="405" r:id="rId34"/>
    <p:sldId id="406" r:id="rId35"/>
    <p:sldId id="436" r:id="rId3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9659" autoAdjust="0"/>
  </p:normalViewPr>
  <p:slideViewPr>
    <p:cSldViewPr snapToGrid="0">
      <p:cViewPr varScale="1">
        <p:scale>
          <a:sx n="59" d="100"/>
          <a:sy n="59" d="100"/>
        </p:scale>
        <p:origin x="477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/>
            <a:t>Routes</a:t>
          </a:r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/>
            <a:t>Describes the routes application supports</a:t>
          </a:r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/>
            <a:t>A “placeholder” component that gets expanded to each route’s content</a:t>
          </a:r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/>
            <a:t>Directive is used to link to routes</a:t>
          </a:r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26602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escribes the routes application supports</a:t>
          </a:r>
        </a:p>
      </dsp:txBody>
      <dsp:txXfrm>
        <a:off x="0" y="326602"/>
        <a:ext cx="8170983" cy="900900"/>
      </dsp:txXfrm>
    </dsp:sp>
    <dsp:sp modelId="{05BB0DDC-0F9E-47EA-A027-2D3BD96A0DBA}">
      <dsp:nvSpPr>
        <dsp:cNvPr id="0" name=""/>
        <dsp:cNvSpPr/>
      </dsp:nvSpPr>
      <dsp:spPr>
        <a:xfrm>
          <a:off x="408549" y="1882"/>
          <a:ext cx="5719688" cy="6494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Routes</a:t>
          </a:r>
        </a:p>
      </dsp:txBody>
      <dsp:txXfrm>
        <a:off x="440252" y="33585"/>
        <a:ext cx="5656282" cy="586034"/>
      </dsp:txXfrm>
    </dsp:sp>
    <dsp:sp modelId="{1FF94A68-B47A-443E-B4B7-61071BC5DBB5}">
      <dsp:nvSpPr>
        <dsp:cNvPr id="0" name=""/>
        <dsp:cNvSpPr/>
      </dsp:nvSpPr>
      <dsp:spPr>
        <a:xfrm>
          <a:off x="0" y="1671022"/>
          <a:ext cx="8170983" cy="1212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A “placeholder” component that gets expanded to each route’s content</a:t>
          </a:r>
        </a:p>
      </dsp:txBody>
      <dsp:txXfrm>
        <a:off x="0" y="1671022"/>
        <a:ext cx="8170983" cy="1212750"/>
      </dsp:txXfrm>
    </dsp:sp>
    <dsp:sp modelId="{FFCF5D1E-4D99-4E79-9506-B6ECF47AE092}">
      <dsp:nvSpPr>
        <dsp:cNvPr id="0" name=""/>
        <dsp:cNvSpPr/>
      </dsp:nvSpPr>
      <dsp:spPr>
        <a:xfrm>
          <a:off x="408549" y="1346302"/>
          <a:ext cx="5719688" cy="6494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Outlet</a:t>
          </a:r>
          <a:endParaRPr lang="en-US" sz="2200" kern="1200" dirty="0"/>
        </a:p>
      </dsp:txBody>
      <dsp:txXfrm>
        <a:off x="440252" y="1378005"/>
        <a:ext cx="5656282" cy="586034"/>
      </dsp:txXfrm>
    </dsp:sp>
    <dsp:sp modelId="{F6601127-57FB-4DD0-98B2-4C93211F2DB4}">
      <dsp:nvSpPr>
        <dsp:cNvPr id="0" name=""/>
        <dsp:cNvSpPr/>
      </dsp:nvSpPr>
      <dsp:spPr>
        <a:xfrm>
          <a:off x="0" y="3327293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irective is used to link to routes</a:t>
          </a:r>
        </a:p>
      </dsp:txBody>
      <dsp:txXfrm>
        <a:off x="0" y="3327293"/>
        <a:ext cx="8170983" cy="900900"/>
      </dsp:txXfrm>
    </dsp:sp>
    <dsp:sp modelId="{700B3221-BEBF-4637-A0BF-60E282B54BE5}">
      <dsp:nvSpPr>
        <dsp:cNvPr id="0" name=""/>
        <dsp:cNvSpPr/>
      </dsp:nvSpPr>
      <dsp:spPr>
        <a:xfrm>
          <a:off x="408549" y="3002573"/>
          <a:ext cx="5719688" cy="6494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Link</a:t>
          </a:r>
          <a:endParaRPr lang="en-US" sz="2200" kern="1200" dirty="0"/>
        </a:p>
      </dsp:txBody>
      <dsp:txXfrm>
        <a:off x="440252" y="3034276"/>
        <a:ext cx="5656282" cy="5860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5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2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F01D5-93D0-4CAB-8178-D27CE2280C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44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/>
              <a:t>HTML5 client-side routing</a:t>
            </a:r>
          </a:p>
          <a:p>
            <a:pPr algn="just"/>
            <a:endParaRPr lang="en-US" b="1" dirty="0"/>
          </a:p>
          <a:p>
            <a:pPr algn="just"/>
            <a:r>
              <a:rPr lang="en-US" dirty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/>
              <a:t>history.pushState</a:t>
            </a:r>
            <a:r>
              <a:rPr lang="en-US" dirty="0"/>
              <a:t> method that exposes the browser’s navigational history to JavaScript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o now, instead of relying on the anchor hack to navigate routes, modern frameworks can rely on </a:t>
            </a:r>
            <a:r>
              <a:rPr lang="en-US" dirty="0" err="1"/>
              <a:t>pushState</a:t>
            </a:r>
            <a:r>
              <a:rPr lang="en-US" dirty="0"/>
              <a:t> to perform history manipulation without reloads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value by 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b="1" dirty="0"/>
              <a:t>Basic Routing Steps</a:t>
            </a:r>
          </a:p>
          <a:p>
            <a:pPr algn="just"/>
            <a:endParaRPr lang="en-US" b="1" dirty="0"/>
          </a:p>
          <a:p>
            <a:pPr algn="just"/>
            <a:r>
              <a:rPr lang="en-US" b="1" dirty="0"/>
              <a:t>Set &lt;base </a:t>
            </a:r>
            <a:r>
              <a:rPr lang="en-US" b="1" dirty="0" err="1"/>
              <a:t>href</a:t>
            </a:r>
            <a:r>
              <a:rPr lang="en-US" b="1" dirty="0"/>
              <a:t>=“/”&gt; tag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Config</a:t>
            </a:r>
            <a:r>
              <a:rPr lang="en-US" b="1" dirty="0"/>
              <a:t> on the root component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Outlet</a:t>
            </a:r>
            <a:r>
              <a:rPr lang="en-US" b="1" dirty="0"/>
              <a:t> Component as placeholder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Link</a:t>
            </a:r>
            <a:r>
              <a:rPr lang="en-US" b="1" dirty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/>
          </a:p>
          <a:p>
            <a:pPr algn="just"/>
            <a:endParaRPr lang="en-US" b="1" dirty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63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9"/>
            <a:ext cx="1138599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967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4" y="1494769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BD2395BC-8BC9-4091-B524-0E19CBD6AF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067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  <p:sldLayoutId id="2147483665" r:id="rId1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150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7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ng-content and @</a:t>
            </a:r>
            <a:r>
              <a:rPr lang="en-IN" dirty="0" err="1"/>
              <a:t>ContentChild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9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5840" y="382385"/>
            <a:ext cx="9601200" cy="1485900"/>
          </a:xfrm>
        </p:spPr>
        <p:txBody>
          <a:bodyPr/>
          <a:lstStyle/>
          <a:p>
            <a:pPr lvl="0"/>
            <a:r>
              <a:rPr lang="en-IN" dirty="0"/>
              <a:t>Inter-component communication (using Input, Output and Servic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26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428750"/>
            <a:ext cx="11385992" cy="4643751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Routing means loading sub-templates depending upon the URL of the page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We can break out the view into a layout and template views and only show the view which we want to show based upon the URL the user is accessing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Routes are a way for multiple views to be used within a single HTML page. This enables you page to look more "app-like" because users are not seeing page reloads happen within the browser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Defining routes in application can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eparate different areas of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intain the state in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Protect areas of the app based on certain rules</a:t>
            </a:r>
          </a:p>
          <a:p>
            <a:pPr algn="just">
              <a:lnSpc>
                <a:spcPct val="11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AngularJS routes enable us to create different URLs for different content in our application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Having different URLs for different content enables the user to bookmark URLs to specific content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In Angular 2 routes are configured  by mapping paths to the component that will handle them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For instance, let consider an application with 2 routes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 main page route, using the /#/home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 about page, using the /#/about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d when the user visits the root path (/#/), it will redirect to the home path.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etup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7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o  implement Routing to Angular Application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Import </a:t>
            </a:r>
            <a:r>
              <a:rPr lang="en-US" dirty="0" err="1"/>
              <a:t>RouterModule</a:t>
            </a:r>
            <a:r>
              <a:rPr lang="en-US" dirty="0"/>
              <a:t> and Routes from ‘@angular/router’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Define routes for application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dirty="0" err="1"/>
              <a:t>const</a:t>
            </a:r>
            <a:r>
              <a:rPr lang="en-US" dirty="0"/>
              <a:t> routes: Routes = [ { path: 'home', component: </a:t>
            </a:r>
            <a:r>
              <a:rPr lang="en-US" dirty="0" err="1"/>
              <a:t>HomeComponent</a:t>
            </a:r>
            <a:r>
              <a:rPr lang="en-US" dirty="0"/>
              <a:t> }];</a:t>
            </a:r>
          </a:p>
          <a:p>
            <a:pPr marL="342900" lvl="1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950" dirty="0"/>
              <a:t>Install the routes using </a:t>
            </a:r>
            <a:r>
              <a:rPr lang="en-US" sz="1950" dirty="0" err="1"/>
              <a:t>RouterModule.forRoot</a:t>
            </a:r>
            <a:r>
              <a:rPr lang="en-US" sz="1950" dirty="0"/>
              <a:t>(routes) in the imports of </a:t>
            </a:r>
            <a:r>
              <a:rPr lang="en-US" sz="1950" dirty="0" err="1"/>
              <a:t>NgModule</a:t>
            </a:r>
            <a:endParaRPr lang="en-US" sz="1950" dirty="0"/>
          </a:p>
          <a:p>
            <a:pPr marL="568325" lvl="2" indent="-225425">
              <a:lnSpc>
                <a:spcPct val="100000"/>
              </a:lnSpc>
            </a:pPr>
            <a:r>
              <a:rPr lang="en-US" sz="1600" dirty="0"/>
              <a:t>imports: [ </a:t>
            </a:r>
            <a:r>
              <a:rPr lang="en-US" sz="1600" dirty="0" err="1"/>
              <a:t>BrowserModule</a:t>
            </a:r>
            <a:r>
              <a:rPr lang="en-US" sz="1600" dirty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)]</a:t>
            </a:r>
          </a:p>
        </p:txBody>
      </p:sp>
    </p:spTree>
    <p:extLst>
      <p:ext uri="{BB962C8B-B14F-4D97-AF65-F5344CB8AC3E}">
        <p14:creationId xmlns:p14="http://schemas.microsoft.com/office/powerpoint/2010/main" val="85662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here are three main components are used to configure routing in Angular</a:t>
            </a: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946032" y="2416569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802124"/>
              </p:ext>
            </p:extLst>
          </p:nvPr>
        </p:nvGraphicFramePr>
        <p:xfrm>
          <a:off x="1371600" y="1428750"/>
          <a:ext cx="8539162" cy="50534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7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4643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isplays the application component for the active URL. Manages navigation from one component to the next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Module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s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Defines an array of Routes, each mapping a URL path to a compon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rOutlet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(&lt;router-outlet&gt;) that marks where the router displays a view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4067"/>
              </p:ext>
            </p:extLst>
          </p:nvPr>
        </p:nvGraphicFramePr>
        <p:xfrm>
          <a:off x="1467225" y="1428750"/>
          <a:ext cx="8532018" cy="51543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41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0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154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binding a clickable HTML element to a route. Clicking an element with a </a:t>
                      </a:r>
                      <a:r>
                        <a:rPr lang="en-US" sz="1800" dirty="0" err="1">
                          <a:effectLst/>
                        </a:rPr>
                        <a:t>routerLinkdirective</a:t>
                      </a:r>
                      <a:r>
                        <a:rPr lang="en-US" sz="1800" dirty="0">
                          <a:effectLst/>
                        </a:rPr>
                        <a:t> that is bound to a string or a link parameters array triggers a navigation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Activ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adding/removing classes from an HTML element when an associated 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 contained on or inside the element becomes active/inactiv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ActivatedRou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800" dirty="0" err="1">
                          <a:effectLst/>
                        </a:rPr>
                        <a:t>params</a:t>
                      </a:r>
                      <a:r>
                        <a:rPr lang="en-US" sz="1800" dirty="0">
                          <a:effectLst/>
                        </a:rPr>
                        <a:t>, and the global fragm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4090602872"/>
                  </a:ext>
                </a:extLst>
              </a:tr>
              <a:tr h="95910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Sta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2556232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781196"/>
              </p:ext>
            </p:extLst>
          </p:nvPr>
        </p:nvGraphicFramePr>
        <p:xfrm>
          <a:off x="1451299" y="1561255"/>
          <a:ext cx="8532018" cy="26789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36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997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588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Link parameters array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 or pass the array as an argument to the </a:t>
                      </a:r>
                      <a:r>
                        <a:rPr lang="en-US" sz="1800" dirty="0" err="1">
                          <a:effectLst/>
                        </a:rPr>
                        <a:t>Router.navigate</a:t>
                      </a:r>
                      <a:r>
                        <a:rPr lang="en-US" sz="1800" dirty="0">
                          <a:effectLst/>
                        </a:rPr>
                        <a:t> method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590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ing component</a:t>
                      </a:r>
                      <a:endParaRPr lang="en-US" sz="1800" b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ngular component with a </a:t>
                      </a:r>
                      <a:r>
                        <a:rPr lang="en-US" sz="1800" dirty="0" err="1">
                          <a:effectLst/>
                        </a:rPr>
                        <a:t>RouterOutlet</a:t>
                      </a:r>
                      <a:r>
                        <a:rPr lang="en-US" sz="1800" dirty="0">
                          <a:effectLst/>
                        </a:rPr>
                        <a:t> that displays views based on router navigations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91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Deep Dive / Rou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80229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33730" y="142875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To define routes for application, create a Routes configuration and then use </a:t>
            </a:r>
            <a:r>
              <a:rPr lang="en-US" dirty="0" err="1"/>
              <a:t>RouterModule.forRoot</a:t>
            </a:r>
            <a:r>
              <a:rPr lang="en-US" dirty="0"/>
              <a:t>(routes) to provide application with the dependencies necessary to use the router.</a:t>
            </a:r>
          </a:p>
          <a:p>
            <a:pPr lvl="1"/>
            <a:r>
              <a:rPr lang="en-US" dirty="0"/>
              <a:t>path specifies the URL this route will handle</a:t>
            </a:r>
          </a:p>
          <a:p>
            <a:pPr lvl="1"/>
            <a:r>
              <a:rPr lang="en-US" dirty="0"/>
              <a:t>component maps to the Component and its template</a:t>
            </a:r>
          </a:p>
          <a:p>
            <a:pPr lvl="1"/>
            <a:r>
              <a:rPr lang="en-US" dirty="0"/>
              <a:t>optional </a:t>
            </a:r>
            <a:r>
              <a:rPr lang="en-US" dirty="0" err="1"/>
              <a:t>redirectTo</a:t>
            </a:r>
            <a:r>
              <a:rPr lang="en-US" dirty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663613" y="4010891"/>
            <a:ext cx="8464061" cy="267872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 [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home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Match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full'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home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abou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contac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u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contact' },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35045102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The router-outlet element indicates where the contents of each route component will be rendered.</a:t>
            </a:r>
          </a:p>
          <a:p>
            <a:pPr algn="just"/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rou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772579" y="3305591"/>
            <a:ext cx="6087326" cy="24327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({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or: 'my-app',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`&lt;div class="container"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router-outlet&gt;&lt;/router-outlet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/div&gt;`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11655222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18457" y="154492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t generates link based on the route path.</a:t>
            </a:r>
          </a:p>
          <a:p>
            <a:pPr algn="just"/>
            <a:r>
              <a:rPr lang="en-US" dirty="0" err="1"/>
              <a:t>routerLink</a:t>
            </a:r>
            <a:r>
              <a:rPr lang="en-US" dirty="0"/>
              <a:t> navigates to a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54014" y="2825262"/>
            <a:ext cx="5910048" cy="208306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div&gt;                        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'Home']"&gt;Home&lt;/a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‘About']"&gt;About Us&lt;/a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19837021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r>
              <a:rPr lang="en-US" dirty="0"/>
              <a:t> &amp; </a:t>
            </a:r>
            <a:r>
              <a:rPr lang="en-US" dirty="0" err="1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599117" y="1508578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033936" y="2824304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033937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</a:rPr>
              <a:t>&lt;a [</a:t>
            </a:r>
            <a:r>
              <a:rPr lang="en-US" sz="1600" dirty="0" err="1">
                <a:solidFill>
                  <a:srgbClr val="000000"/>
                </a:solidFill>
              </a:rPr>
              <a:t>routerLink</a:t>
            </a:r>
            <a:r>
              <a:rPr lang="en-US" sz="1600" dirty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1937477" y="5661139"/>
            <a:ext cx="836393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['Go'] 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13437" y="5098915"/>
            <a:ext cx="8614605" cy="3924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26460" y="1220317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818075" y="1724846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</a:rPr>
              <a:t>Template</a:t>
            </a:r>
            <a:endParaRPr lang="en-US" sz="2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552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trateg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way the Angular application parses and creates paths from and to route definitions is now location strategy.</a:t>
            </a:r>
          </a:p>
          <a:p>
            <a:pPr algn="just"/>
            <a:r>
              <a:rPr lang="en-US" dirty="0" err="1"/>
              <a:t>HashLocationStrategy</a:t>
            </a:r>
            <a:r>
              <a:rPr lang="en-US" dirty="0"/>
              <a:t> ('#/')</a:t>
            </a:r>
          </a:p>
          <a:p>
            <a:pPr algn="just"/>
            <a:r>
              <a:rPr lang="en-US" dirty="0" err="1"/>
              <a:t>PathLocationStrategy</a:t>
            </a:r>
            <a:r>
              <a:rPr lang="en-US" dirty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05274" y="3818873"/>
            <a:ext cx="8003306" cy="25540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import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 from '@angular/common'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add that location strategy to the providers of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Module</a:t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s: [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{ provid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Clas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8775193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Passing Parameters to 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53803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Route </a:t>
            </a:r>
            <a:r>
              <a:rPr lang="en-US" dirty="0" err="1"/>
              <a:t>Parametes</a:t>
            </a:r>
            <a:r>
              <a:rPr lang="en-US" dirty="0"/>
              <a:t> helps to navigate to a specific resource. For instance product with id 3</a:t>
            </a:r>
          </a:p>
          <a:p>
            <a:pPr lvl="1" algn="just"/>
            <a:r>
              <a:rPr lang="en-US" sz="1600" dirty="0"/>
              <a:t>/products/3</a:t>
            </a:r>
          </a:p>
          <a:p>
            <a:r>
              <a:rPr lang="en-US" dirty="0"/>
              <a:t>route takes a parameter by putting a colon : in front of the path segment</a:t>
            </a:r>
          </a:p>
          <a:p>
            <a:pPr lvl="1"/>
            <a:r>
              <a:rPr lang="en-US" sz="1600" dirty="0"/>
              <a:t>/route/:</a:t>
            </a:r>
            <a:r>
              <a:rPr lang="en-US" sz="1600" dirty="0" err="1"/>
              <a:t>param</a:t>
            </a:r>
            <a:endParaRPr lang="en-US" sz="1600" dirty="0"/>
          </a:p>
          <a:p>
            <a:r>
              <a:rPr lang="en-US" dirty="0"/>
              <a:t>To add a parameter to router configuration and to access the value refer the code given below</a:t>
            </a:r>
          </a:p>
          <a:p>
            <a:endParaRPr lang="en-US" dirty="0"/>
          </a:p>
          <a:p>
            <a:pPr lvl="1" algn="just"/>
            <a:endParaRPr lang="en-US" sz="1600" dirty="0"/>
          </a:p>
        </p:txBody>
      </p:sp>
      <p:sp>
        <p:nvSpPr>
          <p:cNvPr id="5" name="Rounded Rectangle 4"/>
          <p:cNvSpPr/>
          <p:nvPr/>
        </p:nvSpPr>
        <p:spPr>
          <a:xfrm>
            <a:off x="1933904" y="4232030"/>
            <a:ext cx="8428107" cy="21328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([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{ path:'/products/:id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:‘Produc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: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)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*To access the parameter value */</a:t>
            </a:r>
          </a:p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Params.ge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7197447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8" y="1291569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n order to access route parameter value in Components, we need to import </a:t>
            </a:r>
            <a:r>
              <a:rPr lang="en-US" dirty="0" err="1"/>
              <a:t>ActivatedRoute</a:t>
            </a:r>
            <a:endParaRPr lang="en-US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algn="just"/>
            <a:r>
              <a:rPr lang="en-US" dirty="0"/>
              <a:t>inject the </a:t>
            </a:r>
            <a:r>
              <a:rPr lang="en-US" dirty="0" err="1"/>
              <a:t>ActivatedRoute</a:t>
            </a:r>
            <a:r>
              <a:rPr lang="en-US" dirty="0"/>
              <a:t> into the constructor of our component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375338" y="2138790"/>
            <a:ext cx="6092532" cy="83093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 from '@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290612" y="3545366"/>
            <a:ext cx="7434071" cy="26486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id: string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tructor(private rout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.params.subscrib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&gt; { this.id =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'id']; })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32122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Understanding Navigation Path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16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Navigating Programmaticall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80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8844" y="238760"/>
            <a:ext cx="9601200" cy="1485900"/>
          </a:xfrm>
        </p:spPr>
        <p:txBody>
          <a:bodyPr/>
          <a:lstStyle/>
          <a:p>
            <a:pPr lvl="0"/>
            <a:r>
              <a:rPr lang="en-IN" dirty="0"/>
              <a:t>Passing Query Parameters and Frag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78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600" y="147320"/>
            <a:ext cx="9601200" cy="1485900"/>
          </a:xfrm>
        </p:spPr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449069"/>
            <a:ext cx="4447786" cy="358140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Component Life Cycle Hooks</a:t>
            </a:r>
          </a:p>
          <a:p>
            <a:pPr lvl="0"/>
            <a:r>
              <a:rPr lang="en-IN" sz="1700" dirty="0"/>
              <a:t>Reusable components in angular using &lt;ng-content&gt;</a:t>
            </a:r>
            <a:endParaRPr lang="en-US" sz="1700" dirty="0"/>
          </a:p>
          <a:p>
            <a:pPr lvl="0"/>
            <a:r>
              <a:rPr lang="en-IN" sz="1700" dirty="0"/>
              <a:t>ng-content and @</a:t>
            </a:r>
            <a:r>
              <a:rPr lang="en-IN" sz="1700" dirty="0" err="1"/>
              <a:t>ContentChild</a:t>
            </a:r>
            <a:endParaRPr lang="en-IN" sz="1700" dirty="0"/>
          </a:p>
          <a:p>
            <a:pPr lvl="0"/>
            <a:r>
              <a:rPr lang="en-IN" sz="1700" dirty="0"/>
              <a:t>Inter-component communication (using Input, Output and Services)</a:t>
            </a:r>
            <a:endParaRPr lang="en-US" sz="1700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72616" y="890270"/>
            <a:ext cx="4447786" cy="572389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Navigating with Router links</a:t>
            </a:r>
            <a:endParaRPr lang="en-US" sz="1700" dirty="0"/>
          </a:p>
          <a:p>
            <a:pPr lvl="0"/>
            <a:r>
              <a:rPr lang="en-IN" sz="1700" dirty="0"/>
              <a:t>Understanding Navigation Paths</a:t>
            </a:r>
            <a:endParaRPr lang="en-US" sz="1700" dirty="0"/>
          </a:p>
          <a:p>
            <a:pPr lvl="0"/>
            <a:r>
              <a:rPr lang="en-IN" sz="1700" dirty="0"/>
              <a:t>Navigating Programmatically</a:t>
            </a:r>
            <a:endParaRPr lang="en-US" sz="1700" dirty="0"/>
          </a:p>
          <a:p>
            <a:pPr lvl="0"/>
            <a:r>
              <a:rPr lang="en-IN" sz="1700" dirty="0"/>
              <a:t>Passing Parameters to Routes</a:t>
            </a:r>
            <a:endParaRPr lang="en-US" sz="1700" dirty="0"/>
          </a:p>
          <a:p>
            <a:pPr lvl="0"/>
            <a:r>
              <a:rPr lang="en-IN" sz="1700" dirty="0"/>
              <a:t>Passing Query Parameters and Fragments</a:t>
            </a:r>
          </a:p>
          <a:p>
            <a:pPr lvl="0"/>
            <a:r>
              <a:rPr lang="en-IN" sz="1700" dirty="0"/>
              <a:t>Setting up Child (Nested) Routes</a:t>
            </a:r>
          </a:p>
          <a:p>
            <a:pPr lvl="0"/>
            <a:r>
              <a:rPr lang="en-IN" sz="1700" dirty="0"/>
              <a:t>Passing static data on routes</a:t>
            </a:r>
            <a:endParaRPr lang="en-US" sz="1700" dirty="0"/>
          </a:p>
          <a:p>
            <a:pPr lvl="0"/>
            <a:r>
              <a:rPr lang="en-IN" sz="1700" dirty="0"/>
              <a:t>Map() operator and </a:t>
            </a:r>
            <a:r>
              <a:rPr lang="en-IN" sz="1700" dirty="0" err="1"/>
              <a:t>switchMap</a:t>
            </a:r>
            <a:r>
              <a:rPr lang="en-IN" sz="1700" dirty="0"/>
              <a:t>() operator</a:t>
            </a:r>
            <a:endParaRPr lang="en-US" sz="1700" dirty="0"/>
          </a:p>
          <a:p>
            <a:pPr lvl="0"/>
            <a:r>
              <a:rPr lang="en-IN" sz="1700" dirty="0"/>
              <a:t>Redirecting and wildcard routes</a:t>
            </a:r>
            <a:endParaRPr lang="en-US" sz="1700" dirty="0"/>
          </a:p>
          <a:p>
            <a:pPr lvl="0"/>
            <a:r>
              <a:rPr lang="en-IN" sz="1700" dirty="0"/>
              <a:t>Outsourcing Route Configuration (create custom module)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Setting up Child (Nested) Rou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6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Passing static data on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10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6320" y="666865"/>
            <a:ext cx="10119360" cy="1485900"/>
          </a:xfrm>
        </p:spPr>
        <p:txBody>
          <a:bodyPr/>
          <a:lstStyle/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2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Redirecting and wildcard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76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238760"/>
            <a:ext cx="10312400" cy="1485900"/>
          </a:xfrm>
        </p:spPr>
        <p:txBody>
          <a:bodyPr/>
          <a:lstStyle/>
          <a:p>
            <a:pPr lvl="0"/>
            <a:r>
              <a:rPr lang="en-IN" dirty="0"/>
              <a:t>Outsourcing Route Configuration </a:t>
            </a:r>
            <a:br>
              <a:rPr lang="en-IN" dirty="0"/>
            </a:br>
            <a:r>
              <a:rPr lang="en-IN" dirty="0"/>
              <a:t>(create custom modu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85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07624" y="1428750"/>
            <a:ext cx="8866331" cy="4643751"/>
          </a:xfrm>
        </p:spPr>
        <p:txBody>
          <a:bodyPr/>
          <a:lstStyle/>
          <a:p>
            <a:r>
              <a:rPr lang="en-US" dirty="0"/>
              <a:t>Demo Router</a:t>
            </a:r>
          </a:p>
          <a:p>
            <a:r>
              <a:rPr lang="en-US" dirty="0"/>
              <a:t>Demo Router Passing Parameter</a:t>
            </a:r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5025" y="1301360"/>
            <a:ext cx="10177295" cy="2852737"/>
          </a:xfrm>
        </p:spPr>
        <p:txBody>
          <a:bodyPr/>
          <a:lstStyle/>
          <a:p>
            <a:r>
              <a:rPr lang="en-US" dirty="0"/>
              <a:t>Components Deep D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59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ifecyc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06008" y="1428750"/>
            <a:ext cx="11062719" cy="464375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Each Angular application goes through a lifecycle.</a:t>
            </a:r>
          </a:p>
          <a:p>
            <a:pPr>
              <a:lnSpc>
                <a:spcPct val="150000"/>
              </a:lnSpc>
            </a:pPr>
            <a:r>
              <a:rPr lang="en-US" dirty="0"/>
              <a:t>If we want to access the value of an input - to load additional data from the server for example - you have to use a lifecycle phase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 constructor of the component class is called before any other component lifecycle hook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For best practice inputs of a component should not be accessed via constructor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o access the value of an input for instance to load data from server component’s life cycle phase should be used.</a:t>
            </a:r>
          </a:p>
        </p:txBody>
      </p:sp>
    </p:spTree>
    <p:extLst>
      <p:ext uri="{BB962C8B-B14F-4D97-AF65-F5344CB8AC3E}">
        <p14:creationId xmlns:p14="http://schemas.microsoft.com/office/powerpoint/2010/main" val="1626732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 component has a lifecycle managed by Angular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creates it, renders it, creates and renders its children, checks it when its data-bound properties change, and destroys it before removing it from the DOM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offers </a:t>
            </a:r>
            <a:r>
              <a:rPr lang="en-US" b="1" dirty="0"/>
              <a:t>lifecycle hooks</a:t>
            </a:r>
            <a:r>
              <a:rPr lang="en-US" dirty="0"/>
              <a:t> that provide visibility into these key life moments and the ability to act when they occur.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0689" y="3669175"/>
            <a:ext cx="4469108" cy="288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35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onent Life Cycle Hoo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After</a:t>
            </a:r>
            <a:r>
              <a:rPr lang="en-US" dirty="0"/>
              <a:t> creating a component by calling its constructor, Angular calls the lifecycle hook methods in the following sequence at specific moments: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029549" y="2463502"/>
          <a:ext cx="8332461" cy="41258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23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8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67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70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when Angular (re)sets data-bound input properties. The method receives a </a:t>
                      </a:r>
                      <a:r>
                        <a:rPr lang="en-US" sz="1800" kern="1200" dirty="0" err="1">
                          <a:effectLst/>
                        </a:rPr>
                        <a:t>SimpleChanges</a:t>
                      </a:r>
                      <a:r>
                        <a:rPr lang="en-US" sz="1800" kern="1200" dirty="0">
                          <a:effectLst/>
                        </a:rPr>
                        <a:t> object of current and previous property values. Called before 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 and whenever one or more data-bound input properties chang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Initialize the directive/component after Angular first displays the data-bound properties and sets the directive/component's input properties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Called once, after the first 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Detect and act upon changes that Angular can't or won't detect on its own. Called during every change detection run, immediately after 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 and 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488209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31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461" y="297873"/>
            <a:ext cx="9601200" cy="1485900"/>
          </a:xfrm>
        </p:spPr>
        <p:txBody>
          <a:bodyPr/>
          <a:lstStyle/>
          <a:p>
            <a:r>
              <a:rPr lang="en-IN" dirty="0"/>
              <a:t>Component Life Cycle Hooks </a:t>
            </a:r>
            <a:r>
              <a:rPr lang="en-US" dirty="0"/>
              <a:t>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31944" y="1133918"/>
          <a:ext cx="8744670" cy="55798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6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74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Content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projects external content into the component’s view. Called once after the first </a:t>
                      </a:r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initializes the component’s views and child views. Called once after the first 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Checked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checks the component’s views and child views. Called after the </a:t>
                      </a:r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 and every subsequent 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52369699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OnDestroy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8273" marR="88273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up just before Angular destroys the directive/component. Unsubscribe Observables and detach event handlers to avoid memory leaks. Called 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before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Angular destroys the directive/component.</a:t>
                      </a:r>
                    </a:p>
                  </a:txBody>
                  <a:tcPr marL="88273" marR="88273"/>
                </a:tc>
                <a:extLst>
                  <a:ext uri="{0D108BD9-81ED-4DB2-BD59-A6C34878D82A}">
                    <a16:rowId xmlns:a16="http://schemas.microsoft.com/office/drawing/2014/main" val="401694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9108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Reusable components in angular using &lt;ng-content&gt;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69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618</TotalTime>
  <Words>1929</Words>
  <Application>Microsoft Office PowerPoint</Application>
  <PresentationFormat>Widescreen</PresentationFormat>
  <Paragraphs>254</Paragraphs>
  <Slides>35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Calibri</vt:lpstr>
      <vt:lpstr>Consolas</vt:lpstr>
      <vt:lpstr>Franklin Gothic Book</vt:lpstr>
      <vt:lpstr>Wingdings</vt:lpstr>
      <vt:lpstr>Crop</vt:lpstr>
      <vt:lpstr>think-cell Slide</vt:lpstr>
      <vt:lpstr>      Angular 6</vt:lpstr>
      <vt:lpstr>Components Deep Dive / Routing</vt:lpstr>
      <vt:lpstr>Components Deep Dive / Routing</vt:lpstr>
      <vt:lpstr>Components Deep Dive</vt:lpstr>
      <vt:lpstr>Component Lifecycle</vt:lpstr>
      <vt:lpstr>Component Lifecycle (Contd…)</vt:lpstr>
      <vt:lpstr>Component Life Cycle Hooks</vt:lpstr>
      <vt:lpstr>Component Life Cycle Hooks (Contd…)</vt:lpstr>
      <vt:lpstr>Reusable components in angular using &lt;ng-content&gt;</vt:lpstr>
      <vt:lpstr>ng-content and @ContentChild</vt:lpstr>
      <vt:lpstr>Inter-component communication (using Input, Output and Services)</vt:lpstr>
      <vt:lpstr>Routing</vt:lpstr>
      <vt:lpstr>Routing</vt:lpstr>
      <vt:lpstr>AngularJS Routes</vt:lpstr>
      <vt:lpstr>Routing Setup</vt:lpstr>
      <vt:lpstr>Components of Angular routing</vt:lpstr>
      <vt:lpstr>Router </vt:lpstr>
      <vt:lpstr>Router (Contd…)</vt:lpstr>
      <vt:lpstr>Router (Contd…)</vt:lpstr>
      <vt:lpstr>Routes</vt:lpstr>
      <vt:lpstr>RouterOutlet</vt:lpstr>
      <vt:lpstr>Navigating with Router links</vt:lpstr>
      <vt:lpstr>RouterOutlet &amp; RouterLink</vt:lpstr>
      <vt:lpstr>Routing Strategies</vt:lpstr>
      <vt:lpstr>Passing Parameters to Routes</vt:lpstr>
      <vt:lpstr>ActivatedRoute</vt:lpstr>
      <vt:lpstr>Understanding Navigation Paths</vt:lpstr>
      <vt:lpstr>Navigating Programmatically</vt:lpstr>
      <vt:lpstr>Passing Query Parameters and Fragments</vt:lpstr>
      <vt:lpstr>Setting up Child (Nested) Routes</vt:lpstr>
      <vt:lpstr>Passing static data on routes</vt:lpstr>
      <vt:lpstr>Map() operator and switchMap() operator</vt:lpstr>
      <vt:lpstr>Redirecting and wildcard routes</vt:lpstr>
      <vt:lpstr>Outsourcing Route Configuration  (create custom module)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415</cp:revision>
  <dcterms:created xsi:type="dcterms:W3CDTF">2017-07-28T13:43:20Z</dcterms:created>
  <dcterms:modified xsi:type="dcterms:W3CDTF">2019-02-15T15:03:14Z</dcterms:modified>
</cp:coreProperties>
</file>